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</p:sldMasterIdLst>
  <p:notesMasterIdLst>
    <p:notesMasterId r:id="rId96"/>
  </p:notesMasterIdLst>
  <p:handoutMasterIdLst>
    <p:handoutMasterId r:id="rId97"/>
  </p:handoutMasterIdLst>
  <p:sldIdLst>
    <p:sldId id="257" r:id="rId3"/>
    <p:sldId id="258" r:id="rId4"/>
    <p:sldId id="260" r:id="rId5"/>
    <p:sldId id="283" r:id="rId6"/>
    <p:sldId id="311" r:id="rId7"/>
    <p:sldId id="312" r:id="rId8"/>
    <p:sldId id="313" r:id="rId9"/>
    <p:sldId id="315" r:id="rId10"/>
    <p:sldId id="259" r:id="rId11"/>
    <p:sldId id="316" r:id="rId12"/>
    <p:sldId id="2495" r:id="rId13"/>
    <p:sldId id="2496" r:id="rId14"/>
    <p:sldId id="314" r:id="rId15"/>
    <p:sldId id="319" r:id="rId16"/>
    <p:sldId id="2497" r:id="rId17"/>
    <p:sldId id="2498" r:id="rId18"/>
    <p:sldId id="2499" r:id="rId19"/>
    <p:sldId id="307" r:id="rId20"/>
    <p:sldId id="299" r:id="rId21"/>
    <p:sldId id="300" r:id="rId22"/>
    <p:sldId id="301" r:id="rId23"/>
    <p:sldId id="326" r:id="rId24"/>
    <p:sldId id="302" r:id="rId25"/>
    <p:sldId id="303" r:id="rId26"/>
    <p:sldId id="2500" r:id="rId27"/>
    <p:sldId id="305" r:id="rId28"/>
    <p:sldId id="262" r:id="rId29"/>
    <p:sldId id="2501" r:id="rId30"/>
    <p:sldId id="2502" r:id="rId31"/>
    <p:sldId id="321" r:id="rId32"/>
    <p:sldId id="317" r:id="rId33"/>
    <p:sldId id="294" r:id="rId34"/>
    <p:sldId id="348" r:id="rId35"/>
    <p:sldId id="507" r:id="rId36"/>
    <p:sldId id="333" r:id="rId37"/>
    <p:sldId id="335" r:id="rId38"/>
    <p:sldId id="336" r:id="rId39"/>
    <p:sldId id="337" r:id="rId40"/>
    <p:sldId id="339" r:id="rId41"/>
    <p:sldId id="338" r:id="rId42"/>
    <p:sldId id="347" r:id="rId43"/>
    <p:sldId id="407" r:id="rId44"/>
    <p:sldId id="268" r:id="rId45"/>
    <p:sldId id="411" r:id="rId46"/>
    <p:sldId id="520" r:id="rId47"/>
    <p:sldId id="1702" r:id="rId48"/>
    <p:sldId id="1703" r:id="rId49"/>
    <p:sldId id="1704" r:id="rId50"/>
    <p:sldId id="1705" r:id="rId51"/>
    <p:sldId id="1706" r:id="rId52"/>
    <p:sldId id="1707" r:id="rId53"/>
    <p:sldId id="1878" r:id="rId54"/>
    <p:sldId id="322" r:id="rId55"/>
    <p:sldId id="318" r:id="rId56"/>
    <p:sldId id="379" r:id="rId57"/>
    <p:sldId id="380" r:id="rId58"/>
    <p:sldId id="346" r:id="rId59"/>
    <p:sldId id="355" r:id="rId60"/>
    <p:sldId id="356" r:id="rId61"/>
    <p:sldId id="1832" r:id="rId62"/>
    <p:sldId id="367" r:id="rId63"/>
    <p:sldId id="360" r:id="rId64"/>
    <p:sldId id="361" r:id="rId65"/>
    <p:sldId id="362" r:id="rId66"/>
    <p:sldId id="363" r:id="rId67"/>
    <p:sldId id="2493" r:id="rId68"/>
    <p:sldId id="323" r:id="rId69"/>
    <p:sldId id="2480" r:id="rId70"/>
    <p:sldId id="2485" r:id="rId71"/>
    <p:sldId id="2492" r:id="rId72"/>
    <p:sldId id="2483" r:id="rId73"/>
    <p:sldId id="2482" r:id="rId74"/>
    <p:sldId id="2423" r:id="rId75"/>
    <p:sldId id="2488" r:id="rId76"/>
    <p:sldId id="2486" r:id="rId77"/>
    <p:sldId id="1911" r:id="rId78"/>
    <p:sldId id="1912" r:id="rId79"/>
    <p:sldId id="1913" r:id="rId80"/>
    <p:sldId id="1914" r:id="rId81"/>
    <p:sldId id="1915" r:id="rId82"/>
    <p:sldId id="1916" r:id="rId83"/>
    <p:sldId id="1917" r:id="rId84"/>
    <p:sldId id="1918" r:id="rId85"/>
    <p:sldId id="1919" r:id="rId86"/>
    <p:sldId id="1920" r:id="rId87"/>
    <p:sldId id="1921" r:id="rId88"/>
    <p:sldId id="2489" r:id="rId89"/>
    <p:sldId id="2487" r:id="rId90"/>
    <p:sldId id="2491" r:id="rId91"/>
    <p:sldId id="2490" r:id="rId92"/>
    <p:sldId id="324" r:id="rId93"/>
    <p:sldId id="320" r:id="rId94"/>
    <p:sldId id="2494" r:id="rId95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257"/>
            <p14:sldId id="258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314"/>
            <p14:sldId id="319"/>
            <p14:sldId id="2497"/>
            <p14:sldId id="2498"/>
            <p14:sldId id="2499"/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  <p14:sldId id="2501"/>
            <p14:sldId id="2502"/>
            <p14:sldId id="321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</p14:sldIdLst>
        </p14:section>
        <p14:section name="Event Grid" id="{AF30C4FD-0FF7-4BAB-9E73-111CA00E8BB7}">
          <p14:sldIdLst>
            <p14:sldId id="318"/>
            <p14:sldId id="379"/>
            <p14:sldId id="380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89"/>
            <p14:sldId id="2487"/>
            <p14:sldId id="2491"/>
            <p14:sldId id="2490"/>
            <p14:sldId id="324"/>
          </p14:sldIdLst>
        </p14:section>
        <p14:section name="DevOps" id="{D6889CDA-5D01-46D3-86BC-92090513983A}">
          <p14:sldIdLst>
            <p14:sldId id="320"/>
          </p14:sldIdLst>
        </p14:section>
        <p14:section name="Closing" id="{D25011B9-3D55-4705-8827-74846F2D3FFC}">
          <p14:sldIdLst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83B01"/>
    <a:srgbClr val="BDBDBD"/>
    <a:srgbClr val="D2D2D2"/>
    <a:srgbClr val="E6E6E6"/>
    <a:srgbClr val="FFB900"/>
    <a:srgbClr val="303030"/>
    <a:srgbClr val="737373"/>
    <a:srgbClr val="F14001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37D166-01A8-41B2-B327-03351E41F026}" v="1" dt="2018-08-17T22:27:45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82" autoAdjust="0"/>
    <p:restoredTop sz="97271" autoAdjust="0"/>
  </p:normalViewPr>
  <p:slideViewPr>
    <p:cSldViewPr snapToGrid="0">
      <p:cViewPr varScale="1">
        <p:scale>
          <a:sx n="157" d="100"/>
          <a:sy n="157" d="100"/>
        </p:scale>
        <p:origin x="816" y="144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tableStyles" Target="tableStyles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microsoft.com/office/2015/10/relationships/revisionInfo" Target="revisionInfo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commentAuthors" Target="commentAuthors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20-Sep-18 21:40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20-Sep-18 21:40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293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439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127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61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8429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709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835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388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381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79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20-Sep-18 21:4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967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69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-Sep-18 21: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0-Sep-18 21:4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20-Sep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485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578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emf"/><Relationship Id="rId5" Type="http://schemas.openxmlformats.org/officeDocument/2006/relationships/image" Target="../media/image15.sv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image" Target="../media/image33.jpe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svg"/><Relationship Id="rId14" Type="http://schemas.openxmlformats.org/officeDocument/2006/relationships/image" Target="../media/image4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jpe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51.jpeg"/><Relationship Id="rId7" Type="http://schemas.openxmlformats.org/officeDocument/2006/relationships/image" Target="../media/image53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15.sv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0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jpeg"/><Relationship Id="rId9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69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11" Type="http://schemas.openxmlformats.org/officeDocument/2006/relationships/image" Target="../media/image68.png"/><Relationship Id="rId5" Type="http://schemas.openxmlformats.org/officeDocument/2006/relationships/image" Target="../media/image63.svg"/><Relationship Id="rId10" Type="http://schemas.openxmlformats.org/officeDocument/2006/relationships/image" Target="../media/image50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emf"/><Relationship Id="rId3" Type="http://schemas.openxmlformats.org/officeDocument/2006/relationships/image" Target="../media/image70.jpe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11" Type="http://schemas.openxmlformats.org/officeDocument/2006/relationships/image" Target="../media/image50.png"/><Relationship Id="rId5" Type="http://schemas.openxmlformats.org/officeDocument/2006/relationships/image" Target="../media/image72.svg"/><Relationship Id="rId10" Type="http://schemas.openxmlformats.org/officeDocument/2006/relationships/image" Target="../media/image75.emf"/><Relationship Id="rId4" Type="http://schemas.openxmlformats.org/officeDocument/2006/relationships/image" Target="../media/image71.png"/><Relationship Id="rId9" Type="http://schemas.openxmlformats.org/officeDocument/2006/relationships/image" Target="../media/image7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66.svg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78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5" Type="http://schemas.openxmlformats.org/officeDocument/2006/relationships/image" Target="../media/image80.svg"/><Relationship Id="rId4" Type="http://schemas.openxmlformats.org/officeDocument/2006/relationships/image" Target="../media/image79.png"/><Relationship Id="rId9" Type="http://schemas.openxmlformats.org/officeDocument/2006/relationships/image" Target="../media/image5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6.emf"/><Relationship Id="rId4" Type="http://schemas.openxmlformats.org/officeDocument/2006/relationships/image" Target="../media/image8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89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93.png"/><Relationship Id="rId17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95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90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92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9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28.png"/><Relationship Id="rId21" Type="http://schemas.openxmlformats.org/officeDocument/2006/relationships/image" Target="../media/image123.png"/><Relationship Id="rId34" Type="http://schemas.openxmlformats.org/officeDocument/2006/relationships/image" Target="../media/image136.jpeg"/><Relationship Id="rId42" Type="http://schemas.openxmlformats.org/officeDocument/2006/relationships/image" Target="../media/image144.png"/><Relationship Id="rId47" Type="http://schemas.openxmlformats.org/officeDocument/2006/relationships/image" Target="../media/image149.png"/><Relationship Id="rId50" Type="http://schemas.openxmlformats.org/officeDocument/2006/relationships/image" Target="../media/image152.png"/><Relationship Id="rId55" Type="http://schemas.openxmlformats.org/officeDocument/2006/relationships/image" Target="../media/image157.jpeg"/><Relationship Id="rId63" Type="http://schemas.openxmlformats.org/officeDocument/2006/relationships/image" Target="../media/image165.jpe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118.gif"/><Relationship Id="rId29" Type="http://schemas.openxmlformats.org/officeDocument/2006/relationships/image" Target="../media/image131.png"/><Relationship Id="rId11" Type="http://schemas.openxmlformats.org/officeDocument/2006/relationships/image" Target="../media/image113.png"/><Relationship Id="rId24" Type="http://schemas.openxmlformats.org/officeDocument/2006/relationships/image" Target="../media/image126.gif"/><Relationship Id="rId32" Type="http://schemas.openxmlformats.org/officeDocument/2006/relationships/image" Target="../media/image134.png"/><Relationship Id="rId37" Type="http://schemas.openxmlformats.org/officeDocument/2006/relationships/image" Target="../media/image139.png"/><Relationship Id="rId40" Type="http://schemas.openxmlformats.org/officeDocument/2006/relationships/image" Target="../media/image142.png"/><Relationship Id="rId45" Type="http://schemas.openxmlformats.org/officeDocument/2006/relationships/image" Target="../media/image147.jpeg"/><Relationship Id="rId53" Type="http://schemas.openxmlformats.org/officeDocument/2006/relationships/image" Target="../media/image155.png"/><Relationship Id="rId58" Type="http://schemas.openxmlformats.org/officeDocument/2006/relationships/image" Target="../media/image160.png"/><Relationship Id="rId66" Type="http://schemas.openxmlformats.org/officeDocument/2006/relationships/image" Target="../media/image168.jpeg"/><Relationship Id="rId5" Type="http://schemas.openxmlformats.org/officeDocument/2006/relationships/image" Target="../media/image107.png"/><Relationship Id="rId61" Type="http://schemas.openxmlformats.org/officeDocument/2006/relationships/image" Target="../media/image163.png"/><Relationship Id="rId19" Type="http://schemas.openxmlformats.org/officeDocument/2006/relationships/image" Target="../media/image121.png"/><Relationship Id="rId14" Type="http://schemas.openxmlformats.org/officeDocument/2006/relationships/image" Target="../media/image116.png"/><Relationship Id="rId22" Type="http://schemas.openxmlformats.org/officeDocument/2006/relationships/image" Target="../media/image124.png"/><Relationship Id="rId27" Type="http://schemas.openxmlformats.org/officeDocument/2006/relationships/image" Target="../media/image129.png"/><Relationship Id="rId30" Type="http://schemas.openxmlformats.org/officeDocument/2006/relationships/image" Target="../media/image132.jpeg"/><Relationship Id="rId35" Type="http://schemas.openxmlformats.org/officeDocument/2006/relationships/image" Target="../media/image137.png"/><Relationship Id="rId43" Type="http://schemas.openxmlformats.org/officeDocument/2006/relationships/image" Target="../media/image145.png"/><Relationship Id="rId48" Type="http://schemas.openxmlformats.org/officeDocument/2006/relationships/image" Target="../media/image150.png"/><Relationship Id="rId56" Type="http://schemas.openxmlformats.org/officeDocument/2006/relationships/image" Target="../media/image158.png"/><Relationship Id="rId64" Type="http://schemas.openxmlformats.org/officeDocument/2006/relationships/image" Target="../media/image166.jpeg"/><Relationship Id="rId8" Type="http://schemas.openxmlformats.org/officeDocument/2006/relationships/image" Target="../media/image110.png"/><Relationship Id="rId51" Type="http://schemas.openxmlformats.org/officeDocument/2006/relationships/image" Target="../media/image153.jpeg"/><Relationship Id="rId3" Type="http://schemas.openxmlformats.org/officeDocument/2006/relationships/image" Target="../media/image105.png"/><Relationship Id="rId12" Type="http://schemas.openxmlformats.org/officeDocument/2006/relationships/image" Target="../media/image114.png"/><Relationship Id="rId17" Type="http://schemas.openxmlformats.org/officeDocument/2006/relationships/image" Target="../media/image119.png"/><Relationship Id="rId25" Type="http://schemas.openxmlformats.org/officeDocument/2006/relationships/image" Target="../media/image127.png"/><Relationship Id="rId33" Type="http://schemas.openxmlformats.org/officeDocument/2006/relationships/image" Target="../media/image135.png"/><Relationship Id="rId38" Type="http://schemas.openxmlformats.org/officeDocument/2006/relationships/image" Target="../media/image140.png"/><Relationship Id="rId46" Type="http://schemas.openxmlformats.org/officeDocument/2006/relationships/image" Target="../media/image148.png"/><Relationship Id="rId59" Type="http://schemas.openxmlformats.org/officeDocument/2006/relationships/image" Target="../media/image161.png"/><Relationship Id="rId20" Type="http://schemas.openxmlformats.org/officeDocument/2006/relationships/image" Target="../media/image122.png"/><Relationship Id="rId41" Type="http://schemas.openxmlformats.org/officeDocument/2006/relationships/image" Target="../media/image143.png"/><Relationship Id="rId54" Type="http://schemas.openxmlformats.org/officeDocument/2006/relationships/image" Target="../media/image156.png"/><Relationship Id="rId62" Type="http://schemas.openxmlformats.org/officeDocument/2006/relationships/image" Target="../media/image164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08.png"/><Relationship Id="rId15" Type="http://schemas.openxmlformats.org/officeDocument/2006/relationships/image" Target="../media/image117.png"/><Relationship Id="rId23" Type="http://schemas.openxmlformats.org/officeDocument/2006/relationships/image" Target="../media/image125.png"/><Relationship Id="rId28" Type="http://schemas.openxmlformats.org/officeDocument/2006/relationships/image" Target="../media/image130.png"/><Relationship Id="rId36" Type="http://schemas.openxmlformats.org/officeDocument/2006/relationships/image" Target="../media/image138.png"/><Relationship Id="rId49" Type="http://schemas.openxmlformats.org/officeDocument/2006/relationships/image" Target="../media/image151.jpeg"/><Relationship Id="rId57" Type="http://schemas.openxmlformats.org/officeDocument/2006/relationships/image" Target="../media/image159.png"/><Relationship Id="rId10" Type="http://schemas.openxmlformats.org/officeDocument/2006/relationships/image" Target="../media/image112.jpeg"/><Relationship Id="rId31" Type="http://schemas.openxmlformats.org/officeDocument/2006/relationships/image" Target="../media/image133.png"/><Relationship Id="rId44" Type="http://schemas.openxmlformats.org/officeDocument/2006/relationships/image" Target="../media/image146.png"/><Relationship Id="rId52" Type="http://schemas.openxmlformats.org/officeDocument/2006/relationships/image" Target="../media/image154.png"/><Relationship Id="rId60" Type="http://schemas.openxmlformats.org/officeDocument/2006/relationships/image" Target="../media/image162.png"/><Relationship Id="rId65" Type="http://schemas.openxmlformats.org/officeDocument/2006/relationships/image" Target="../media/image167.jpeg"/><Relationship Id="rId4" Type="http://schemas.openxmlformats.org/officeDocument/2006/relationships/image" Target="../media/image106.png"/><Relationship Id="rId9" Type="http://schemas.openxmlformats.org/officeDocument/2006/relationships/image" Target="../media/image111.png"/><Relationship Id="rId13" Type="http://schemas.openxmlformats.org/officeDocument/2006/relationships/image" Target="../media/image115.png"/><Relationship Id="rId18" Type="http://schemas.openxmlformats.org/officeDocument/2006/relationships/image" Target="../media/image120.png"/><Relationship Id="rId39" Type="http://schemas.openxmlformats.org/officeDocument/2006/relationships/image" Target="../media/image14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9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2.wdp"/><Relationship Id="rId4" Type="http://schemas.openxmlformats.org/officeDocument/2006/relationships/image" Target="../media/image17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2.png"/><Relationship Id="rId4" Type="http://schemas.openxmlformats.org/officeDocument/2006/relationships/notesSlide" Target="../notesSlides/notesSlide4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72.png"/><Relationship Id="rId4" Type="http://schemas.openxmlformats.org/officeDocument/2006/relationships/notesSlide" Target="../notesSlides/notesSlide44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png"/><Relationship Id="rId13" Type="http://schemas.openxmlformats.org/officeDocument/2006/relationships/image" Target="../media/image183.png"/><Relationship Id="rId18" Type="http://schemas.openxmlformats.org/officeDocument/2006/relationships/image" Target="../media/image188.png"/><Relationship Id="rId3" Type="http://schemas.openxmlformats.org/officeDocument/2006/relationships/image" Target="../media/image173.png"/><Relationship Id="rId7" Type="http://schemas.openxmlformats.org/officeDocument/2006/relationships/image" Target="../media/image177.png"/><Relationship Id="rId12" Type="http://schemas.openxmlformats.org/officeDocument/2006/relationships/image" Target="../media/image182.png"/><Relationship Id="rId17" Type="http://schemas.openxmlformats.org/officeDocument/2006/relationships/image" Target="../media/image187.pn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8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6.png"/><Relationship Id="rId11" Type="http://schemas.openxmlformats.org/officeDocument/2006/relationships/image" Target="../media/image181.png"/><Relationship Id="rId5" Type="http://schemas.openxmlformats.org/officeDocument/2006/relationships/image" Target="../media/image175.png"/><Relationship Id="rId15" Type="http://schemas.openxmlformats.org/officeDocument/2006/relationships/image" Target="../media/image185.png"/><Relationship Id="rId10" Type="http://schemas.openxmlformats.org/officeDocument/2006/relationships/image" Target="../media/image180.png"/><Relationship Id="rId4" Type="http://schemas.openxmlformats.org/officeDocument/2006/relationships/image" Target="../media/image174.png"/><Relationship Id="rId9" Type="http://schemas.openxmlformats.org/officeDocument/2006/relationships/image" Target="../media/image179.svg"/><Relationship Id="rId14" Type="http://schemas.openxmlformats.org/officeDocument/2006/relationships/image" Target="../media/image184.emf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svg"/><Relationship Id="rId3" Type="http://schemas.openxmlformats.org/officeDocument/2006/relationships/image" Target="../media/image190.png"/><Relationship Id="rId7" Type="http://schemas.openxmlformats.org/officeDocument/2006/relationships/image" Target="../media/image19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3.svg"/><Relationship Id="rId5" Type="http://schemas.openxmlformats.org/officeDocument/2006/relationships/image" Target="../media/image192.png"/><Relationship Id="rId10" Type="http://schemas.openxmlformats.org/officeDocument/2006/relationships/image" Target="../media/image197.svg"/><Relationship Id="rId4" Type="http://schemas.openxmlformats.org/officeDocument/2006/relationships/image" Target="../media/image191.svg"/><Relationship Id="rId9" Type="http://schemas.openxmlformats.org/officeDocument/2006/relationships/image" Target="../media/image196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0.png"/><Relationship Id="rId4" Type="http://schemas.openxmlformats.org/officeDocument/2006/relationships/image" Target="../media/image199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15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13" Type="http://schemas.openxmlformats.org/officeDocument/2006/relationships/image" Target="../media/image213.png"/><Relationship Id="rId18" Type="http://schemas.openxmlformats.org/officeDocument/2006/relationships/image" Target="../media/image218.png"/><Relationship Id="rId26" Type="http://schemas.openxmlformats.org/officeDocument/2006/relationships/image" Target="../media/image226.png"/><Relationship Id="rId3" Type="http://schemas.openxmlformats.org/officeDocument/2006/relationships/image" Target="../media/image204.png"/><Relationship Id="rId21" Type="http://schemas.openxmlformats.org/officeDocument/2006/relationships/image" Target="../media/image221.png"/><Relationship Id="rId7" Type="http://schemas.openxmlformats.org/officeDocument/2006/relationships/image" Target="../media/image208.png"/><Relationship Id="rId12" Type="http://schemas.openxmlformats.org/officeDocument/2006/relationships/image" Target="../media/image212.png"/><Relationship Id="rId17" Type="http://schemas.openxmlformats.org/officeDocument/2006/relationships/image" Target="../media/image217.png"/><Relationship Id="rId25" Type="http://schemas.openxmlformats.org/officeDocument/2006/relationships/image" Target="../media/image225.png"/><Relationship Id="rId2" Type="http://schemas.openxmlformats.org/officeDocument/2006/relationships/image" Target="../media/image203.png"/><Relationship Id="rId16" Type="http://schemas.openxmlformats.org/officeDocument/2006/relationships/image" Target="../media/image216.png"/><Relationship Id="rId20" Type="http://schemas.openxmlformats.org/officeDocument/2006/relationships/image" Target="../media/image22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7.png"/><Relationship Id="rId11" Type="http://schemas.openxmlformats.org/officeDocument/2006/relationships/image" Target="../media/image211.png"/><Relationship Id="rId24" Type="http://schemas.openxmlformats.org/officeDocument/2006/relationships/image" Target="../media/image224.png"/><Relationship Id="rId5" Type="http://schemas.openxmlformats.org/officeDocument/2006/relationships/image" Target="../media/image206.png"/><Relationship Id="rId15" Type="http://schemas.openxmlformats.org/officeDocument/2006/relationships/image" Target="../media/image215.png"/><Relationship Id="rId23" Type="http://schemas.openxmlformats.org/officeDocument/2006/relationships/image" Target="../media/image223.png"/><Relationship Id="rId28" Type="http://schemas.openxmlformats.org/officeDocument/2006/relationships/image" Target="../media/image228.png"/><Relationship Id="rId10" Type="http://schemas.openxmlformats.org/officeDocument/2006/relationships/image" Target="../media/image210.png"/><Relationship Id="rId19" Type="http://schemas.openxmlformats.org/officeDocument/2006/relationships/image" Target="../media/image219.png"/><Relationship Id="rId4" Type="http://schemas.openxmlformats.org/officeDocument/2006/relationships/image" Target="../media/image205.png"/><Relationship Id="rId9" Type="http://schemas.microsoft.com/office/2007/relationships/hdphoto" Target="../media/hdphoto3.wdp"/><Relationship Id="rId14" Type="http://schemas.openxmlformats.org/officeDocument/2006/relationships/image" Target="../media/image214.png"/><Relationship Id="rId22" Type="http://schemas.openxmlformats.org/officeDocument/2006/relationships/image" Target="../media/image222.png"/><Relationship Id="rId27" Type="http://schemas.openxmlformats.org/officeDocument/2006/relationships/image" Target="../media/image227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png"/><Relationship Id="rId1" Type="http://schemas.openxmlformats.org/officeDocument/2006/relationships/slideLayout" Target="../slideLayouts/slideLayout15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5.png"/><Relationship Id="rId3" Type="http://schemas.openxmlformats.org/officeDocument/2006/relationships/image" Target="../media/image230.png"/><Relationship Id="rId7" Type="http://schemas.openxmlformats.org/officeDocument/2006/relationships/image" Target="../media/image23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3.png"/><Relationship Id="rId5" Type="http://schemas.openxmlformats.org/officeDocument/2006/relationships/image" Target="../media/image232.png"/><Relationship Id="rId4" Type="http://schemas.openxmlformats.org/officeDocument/2006/relationships/image" Target="../media/image231.png"/><Relationship Id="rId9" Type="http://schemas.openxmlformats.org/officeDocument/2006/relationships/image" Target="../media/image236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0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0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0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aka.ms/serverless-workshop-preday18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EE0ED-ADE3-4FB1-9690-519575D18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1317546"/>
            <a:ext cx="6763514" cy="2215991"/>
          </a:xfrm>
        </p:spPr>
        <p:txBody>
          <a:bodyPr/>
          <a:lstStyle/>
          <a:p>
            <a:r>
              <a:rPr lang="en-US" dirty="0"/>
              <a:t>Develop serverless applications using Azure Functions, </a:t>
            </a:r>
            <a:r>
              <a:rPr lang="en-US" dirty="0" err="1"/>
              <a:t>CosmosDB</a:t>
            </a:r>
            <a:r>
              <a:rPr lang="en-US" dirty="0"/>
              <a:t> and mo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BA9489-F616-4B80-9DDC-7C893032C4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1" y="3962400"/>
            <a:ext cx="5943600" cy="2154436"/>
          </a:xfrm>
        </p:spPr>
        <p:txBody>
          <a:bodyPr/>
          <a:lstStyle/>
          <a:p>
            <a:r>
              <a:rPr lang="en-US" dirty="0"/>
              <a:t>Jeff Hollan, PM Azure Functions</a:t>
            </a:r>
          </a:p>
          <a:p>
            <a:r>
              <a:rPr lang="en-US" dirty="0"/>
              <a:t>Rafat Sarosh, Principal PM Cosmos DB</a:t>
            </a:r>
          </a:p>
          <a:p>
            <a:r>
              <a:rPr lang="en-US" dirty="0"/>
              <a:t>Bahram Banisadr, PM Event Grid</a:t>
            </a:r>
          </a:p>
          <a:p>
            <a:r>
              <a:rPr lang="en-US" dirty="0"/>
              <a:t>Derek Li, PM Logic Apps</a:t>
            </a:r>
          </a:p>
          <a:p>
            <a:endParaRPr lang="en-US" dirty="0"/>
          </a:p>
          <a:p>
            <a:r>
              <a:rPr lang="en-US" dirty="0"/>
              <a:t>Oded Dvoskin, PM App Service &amp; Functions</a:t>
            </a:r>
          </a:p>
          <a:p>
            <a:r>
              <a:rPr lang="en-US" dirty="0"/>
              <a:t>Gorka Madariaga, PMM Azure Serverless</a:t>
            </a:r>
          </a:p>
        </p:txBody>
      </p:sp>
    </p:spTree>
    <p:extLst>
      <p:ext uri="{BB962C8B-B14F-4D97-AF65-F5344CB8AC3E}">
        <p14:creationId xmlns:p14="http://schemas.microsoft.com/office/powerpoint/2010/main" val="367929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Build apps faster with Azure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5A3E3-3007-497B-A775-2C04AA8842F4}"/>
              </a:ext>
            </a:extLst>
          </p:cNvPr>
          <p:cNvSpPr txBox="1">
            <a:spLocks/>
          </p:cNvSpPr>
          <p:nvPr/>
        </p:nvSpPr>
        <p:spPr>
          <a:xfrm>
            <a:off x="585216" y="3764692"/>
            <a:ext cx="659406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Colby Tresness,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FaaS</a:t>
            </a:r>
            <a: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 is at the center of serverless</a:t>
            </a:r>
            <a:b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What is Azure Functions?</a:t>
            </a:r>
            <a:b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</a:t>
            </a:r>
            <a:r>
              <a:rPr lang="en-US" sz="2353" b="1" err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FaaS</a:t>
            </a: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++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ocus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on code, not plumbing</a:t>
            </a:r>
          </a:p>
          <a:p>
            <a:endParaRPr lang="en-US" sz="4703" spc="-147">
              <a:ln w="3175"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/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/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1250">
                          <a:schemeClr val="tx2"/>
                        </a:gs>
                        <a:gs pos="100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/>
                  <a:t>Debug C# and JavaScript functions locally</a:t>
                </a:r>
              </a:p>
              <a:p>
                <a:r>
                  <a:rPr lang="en-US" sz="1372"/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rgbClr val="0078D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rgbClr val="505050">
                    <a:lumMod val="65000"/>
                    <a:lumOff val="35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91" y="2532117"/>
            <a:ext cx="1589210" cy="529275"/>
            <a:chOff x="9418638" y="2582392"/>
            <a:chExt cx="1621077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39247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tream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14209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06B3754-71B6-488D-871E-B32298E861F4}"/>
              </a:ext>
            </a:extLst>
          </p:cNvPr>
          <p:cNvGrpSpPr/>
          <p:nvPr/>
        </p:nvGrpSpPr>
        <p:grpSpPr>
          <a:xfrm>
            <a:off x="191953" y="233614"/>
            <a:ext cx="1794718" cy="570952"/>
            <a:chOff x="212407" y="237801"/>
            <a:chExt cx="1830706" cy="58240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73868A-6FC7-482C-81FC-FF8DABB9A89C}"/>
                </a:ext>
              </a:extLst>
            </p:cNvPr>
            <p:cNvSpPr txBox="1"/>
            <p:nvPr/>
          </p:nvSpPr>
          <p:spPr>
            <a:xfrm>
              <a:off x="212407" y="237801"/>
              <a:ext cx="18307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EFF254-FED9-4EC3-A655-35C6D93BE4CC}"/>
                </a:ext>
              </a:extLst>
            </p:cNvPr>
            <p:cNvGrpSpPr/>
            <p:nvPr/>
          </p:nvGrpSpPr>
          <p:grpSpPr>
            <a:xfrm>
              <a:off x="234135" y="512425"/>
              <a:ext cx="1787250" cy="307777"/>
              <a:chOff x="255683" y="512425"/>
              <a:chExt cx="1787250" cy="307777"/>
            </a:xfrm>
          </p:grpSpPr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48F58F6-70F2-448A-9F08-E581218DA772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tail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13EE319-A9B9-48B9-BE81-A33881982A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036E82D-1560-47E6-AABC-4174310402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3554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EC65FF0-BE51-42C8-B643-CFBFB8091A9A}"/>
              </a:ext>
            </a:extLst>
          </p:cNvPr>
          <p:cNvSpPr txBox="1"/>
          <p:nvPr/>
        </p:nvSpPr>
        <p:spPr>
          <a:xfrm>
            <a:off x="113098" y="884945"/>
            <a:ext cx="1933467" cy="11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ine orders are picked up from a queue, processed and the resulting data is stored in a database.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Web</a:t>
            </a:r>
            <a:r>
              <a:rPr lang="en-US"/>
              <a:t>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B4409-D0B4-4A9F-B37D-78E37CFC8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F11BC-4DD3-405F-9DCB-DFB747364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508446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Introduction to Serverles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zure Functions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1 – Serverless API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smos DB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2 – Adding Cosmos DB data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vent Grid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3 – Making the solution event-drive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Logic Apps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4 – Orchestrating serverless workflow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BONUS: DevOps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94571164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CF8CF8-FE60-48AA-AD16-292926594DCD}"/>
              </a:ext>
            </a:extLst>
          </p:cNvPr>
          <p:cNvGrpSpPr/>
          <p:nvPr/>
        </p:nvGrpSpPr>
        <p:grpSpPr>
          <a:xfrm>
            <a:off x="182615" y="3961486"/>
            <a:ext cx="1813394" cy="570952"/>
            <a:chOff x="205662" y="237801"/>
            <a:chExt cx="1849756" cy="58240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6A7A804-E9C0-498F-9462-AAE9206AB0FF}"/>
                </a:ext>
              </a:extLst>
            </p:cNvPr>
            <p:cNvSpPr txBox="1"/>
            <p:nvPr/>
          </p:nvSpPr>
          <p:spPr>
            <a:xfrm>
              <a:off x="205662" y="237801"/>
              <a:ext cx="18497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E0BA25D-7160-44A8-AA85-D1841DB9E19B}"/>
                </a:ext>
              </a:extLst>
            </p:cNvPr>
            <p:cNvGrpSpPr/>
            <p:nvPr/>
          </p:nvGrpSpPr>
          <p:grpSpPr>
            <a:xfrm>
              <a:off x="211574" y="512425"/>
              <a:ext cx="1812591" cy="307777"/>
              <a:chOff x="255683" y="512425"/>
              <a:chExt cx="1812591" cy="30777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AC13AF3A-1248-4C07-8614-E867300A7C18}"/>
                  </a:ext>
                </a:extLst>
              </p:cNvPr>
              <p:cNvSpPr txBox="1"/>
              <p:nvPr/>
            </p:nvSpPr>
            <p:spPr>
              <a:xfrm>
                <a:off x="281024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nancial Services</a:t>
                </a: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F037346-6992-425E-8522-3E9E7A0519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16854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D711F21-CC15-41CB-A4B2-DAF145A5B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78341" y="666313"/>
                <a:ext cx="1645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EC48CEAE-8D49-4F7E-92BE-11DB1BD76F36}"/>
              </a:ext>
            </a:extLst>
          </p:cNvPr>
          <p:cNvSpPr txBox="1"/>
          <p:nvPr/>
        </p:nvSpPr>
        <p:spPr>
          <a:xfrm>
            <a:off x="113098" y="4612818"/>
            <a:ext cx="1933467" cy="1991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agues use mobile banking to reimburse each other for lunch: the person who paid for lunch requests payment through his mobile app, triggering a notification on his colleagues’ phones.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Mobile</a:t>
            </a:r>
            <a:r>
              <a:rPr lang="en-US"/>
              <a:t>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2233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8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  <a:ex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8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2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11509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228575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2"/>
                    </a:gs>
                    <a:gs pos="85000">
                      <a:schemeClr val="tx2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4CEF7D-6C86-4A65-AFF0-FFAE82AD77D9}"/>
              </a:ext>
            </a:extLst>
          </p:cNvPr>
          <p:cNvSpPr txBox="1">
            <a:spLocks/>
          </p:cNvSpPr>
          <p:nvPr/>
        </p:nvSpPr>
        <p:spPr>
          <a:xfrm>
            <a:off x="585216" y="3764692"/>
            <a:ext cx="659406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Rafat Sarosh, Principal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/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/>
              <a:t>A globally-distributed, multi-model</a:t>
            </a:r>
            <a:r>
              <a:rPr lang="en-US" dirty="0"/>
              <a:t>, </a:t>
            </a:r>
            <a:r>
              <a:rPr dirty="0"/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/>
              <a:t>mongoDB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832903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809726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33E4A6-3414-44D0-AFF5-B05A855A031C}"/>
              </a:ext>
            </a:extLst>
          </p:cNvPr>
          <p:cNvSpPr txBox="1"/>
          <p:nvPr/>
        </p:nvSpPr>
        <p:spPr>
          <a:xfrm>
            <a:off x="8337063" y="6600360"/>
            <a:ext cx="3788039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48193"/>
            <a:r>
              <a:rPr lang="en-US" sz="784">
                <a:gradFill>
                  <a:gsLst>
                    <a:gs pos="0">
                      <a:srgbClr val="505050"/>
                    </a:gs>
                    <a:gs pos="85000">
                      <a:srgbClr val="505050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*Supporting services, like storage and networking, may be charged separately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78A1E-B1D5-4A4C-ACF7-8FFE12BBF534}"/>
              </a:ext>
            </a:extLst>
          </p:cNvPr>
          <p:cNvSpPr txBox="1">
            <a:spLocks/>
          </p:cNvSpPr>
          <p:nvPr/>
        </p:nvSpPr>
        <p:spPr>
          <a:xfrm>
            <a:off x="585216" y="3764692"/>
            <a:ext cx="59436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Bahram Banisadr,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1_v2">
            <a:hlinkClick r:id="" action="ppaction://media"/>
            <a:extLst>
              <a:ext uri="{FF2B5EF4-FFF2-40B4-BE49-F238E27FC236}">
                <a16:creationId xmlns:a16="http://schemas.microsoft.com/office/drawing/2014/main" id="{92BE3481-9D9C-42E4-A075-05A2545E965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07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6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2_v2">
            <a:hlinkClick r:id="" action="ppaction://media"/>
            <a:extLst>
              <a:ext uri="{FF2B5EF4-FFF2-40B4-BE49-F238E27FC236}">
                <a16:creationId xmlns:a16="http://schemas.microsoft.com/office/drawing/2014/main" id="{5BE16741-EBCA-42EB-9CDB-E2BC203E84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630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0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.Net</a:t>
            </a: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}] </a:t>
              </a:r>
              <a:endParaRPr lang="en-US" sz="1176" dirty="0">
                <a:gradFill>
                  <a:gsLst>
                    <a:gs pos="38202">
                      <a:schemeClr val="tx1"/>
                    </a:gs>
                    <a:gs pos="5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75F363-4330-4E6A-BB82-67A311DBDE8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5216" y="3764692"/>
            <a:ext cx="5943600" cy="43088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rek Li,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building today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  <a:extLst/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BizTalk</a:t>
            </a:r>
            <a:b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rgbClr val="505050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DEB846-C914-4948-8701-9C372C4FC9D9}"/>
              </a:ext>
            </a:extLst>
          </p:cNvPr>
          <p:cNvSpPr txBox="1"/>
          <p:nvPr/>
        </p:nvSpPr>
        <p:spPr>
          <a:xfrm>
            <a:off x="5529338" y="6610814"/>
            <a:ext cx="1133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st varies by reg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675213-D10D-4B59-B337-8067EFEA57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For You Organics Company (BFYO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A731-1CB6-4556-A09B-27B57C31BBBA}"/>
              </a:ext>
            </a:extLst>
          </p:cNvPr>
          <p:cNvSpPr txBox="1"/>
          <p:nvPr/>
        </p:nvSpPr>
        <p:spPr>
          <a:xfrm>
            <a:off x="637031" y="976848"/>
            <a:ext cx="81716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ce cream company on a cloud native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6FC6-C120-4F83-A803-DD05FE81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E9F49-A29D-46BA-8D77-7A43BC35F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6438" y="1435497"/>
            <a:ext cx="10756282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egration service environment</a:t>
            </a:r>
          </a:p>
          <a:p>
            <a:pPr marL="0" indent="0">
              <a:buNone/>
            </a:pPr>
            <a:r>
              <a:rPr lang="en-US" dirty="0"/>
              <a:t>Available in Azure China cloud</a:t>
            </a:r>
          </a:p>
          <a:p>
            <a:pPr marL="0" indent="0">
              <a:buNone/>
            </a:pPr>
            <a:r>
              <a:rPr lang="en-US" dirty="0"/>
              <a:t>SAP, SFTP, MQ connector</a:t>
            </a:r>
          </a:p>
          <a:p>
            <a:pPr marL="0" indent="0">
              <a:buNone/>
            </a:pPr>
            <a:r>
              <a:rPr lang="en-US" dirty="0"/>
              <a:t>Managed service identity</a:t>
            </a:r>
          </a:p>
          <a:p>
            <a:pPr marL="0" indent="0">
              <a:buNone/>
            </a:pPr>
            <a:r>
              <a:rPr lang="en-US" dirty="0"/>
              <a:t>VS Code extension</a:t>
            </a:r>
          </a:p>
          <a:p>
            <a:pPr marL="0" indent="0">
              <a:buNone/>
            </a:pPr>
            <a:r>
              <a:rPr lang="en-US" dirty="0"/>
              <a:t>And many mor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03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28829-4559-4E7D-8CCC-B9AE2268C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Sessions at Igni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6CA92C-89F1-40DC-8271-030D3B50FF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869025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/>
              <a:t>BRK2028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ybrid Integration for the enterprise with Azure Integration Services</a:t>
            </a:r>
          </a:p>
          <a:p>
            <a:pPr marL="0" indent="0">
              <a:buNone/>
            </a:pPr>
            <a:r>
              <a:rPr lang="en-US" sz="1400" dirty="0"/>
              <a:t>Monday, September 24</a:t>
            </a:r>
          </a:p>
          <a:p>
            <a:pPr marL="0" indent="0">
              <a:buNone/>
            </a:pPr>
            <a:r>
              <a:rPr lang="en-US" sz="1400" dirty="0"/>
              <a:t>4:00 PM - 5:15 PM</a:t>
            </a:r>
          </a:p>
          <a:p>
            <a:pPr marL="0" indent="0">
              <a:buNone/>
            </a:pPr>
            <a:r>
              <a:rPr lang="en-US" sz="1400" dirty="0"/>
              <a:t>OCCC W311 A-D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THR2210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uild smart integration solutions with the new Azure Logic Apps add in for Visual Studio Code</a:t>
            </a:r>
          </a:p>
          <a:p>
            <a:pPr marL="0" indent="0">
              <a:buNone/>
            </a:pPr>
            <a:r>
              <a:rPr lang="en-US" sz="1400" dirty="0"/>
              <a:t>Monday, September 24</a:t>
            </a:r>
          </a:p>
          <a:p>
            <a:pPr marL="0" indent="0">
              <a:buNone/>
            </a:pPr>
            <a:r>
              <a:rPr lang="en-US" sz="1400" dirty="0"/>
              <a:t>7:00 PM - 7:20 PM</a:t>
            </a:r>
          </a:p>
          <a:p>
            <a:pPr marL="0" indent="0">
              <a:buNone/>
            </a:pPr>
            <a:r>
              <a:rPr lang="en-US" sz="1400" dirty="0"/>
              <a:t>Expo Theater #9</a:t>
            </a:r>
          </a:p>
          <a:p>
            <a:pPr marL="0" indent="0" fontAlgn="base">
              <a:buNone/>
            </a:pPr>
            <a:endParaRPr lang="en-US" sz="1400" b="1" dirty="0"/>
          </a:p>
          <a:p>
            <a:pPr marL="0" indent="0" fontAlgn="base">
              <a:buNone/>
            </a:pPr>
            <a:r>
              <a:rPr lang="en-US" sz="1400" dirty="0"/>
              <a:t>THR3104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e the scheduler hero with Azure Logic Apps</a:t>
            </a:r>
          </a:p>
          <a:p>
            <a:pPr marL="0" indent="0">
              <a:buNone/>
            </a:pPr>
            <a:r>
              <a:rPr lang="en-US" sz="1400" dirty="0"/>
              <a:t>Tuesday, September 25</a:t>
            </a:r>
          </a:p>
          <a:p>
            <a:pPr marL="0" indent="0">
              <a:buNone/>
            </a:pPr>
            <a:r>
              <a:rPr lang="en-US" sz="1400" dirty="0"/>
              <a:t>1:05 PM - 1:25 PM</a:t>
            </a:r>
          </a:p>
          <a:p>
            <a:pPr marL="0" indent="0">
              <a:buNone/>
            </a:pPr>
            <a:r>
              <a:rPr lang="en-US" sz="1400" dirty="0"/>
              <a:t>Expo Theater #9</a:t>
            </a:r>
            <a:endParaRPr lang="en-US" sz="1400" b="1" dirty="0"/>
          </a:p>
          <a:p>
            <a:pPr marL="0" indent="0" fontAlgn="base">
              <a:buNone/>
            </a:pPr>
            <a:endParaRPr lang="en-US" sz="1400" b="1" dirty="0"/>
          </a:p>
          <a:p>
            <a:pPr marL="0" indent="0" fontAlgn="base">
              <a:buNone/>
            </a:pPr>
            <a:r>
              <a:rPr lang="en-US" sz="1400" dirty="0"/>
              <a:t>THR2198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asily build Azure Logic Apps custom connectors to integrate legacy systems with SaaS</a:t>
            </a:r>
          </a:p>
          <a:p>
            <a:pPr marL="0" indent="0">
              <a:buNone/>
            </a:pPr>
            <a:r>
              <a:rPr lang="en-US" sz="1400" dirty="0"/>
              <a:t>Wednesday, September 26</a:t>
            </a:r>
          </a:p>
          <a:p>
            <a:pPr marL="0" indent="0">
              <a:buNone/>
            </a:pPr>
            <a:r>
              <a:rPr lang="en-US" sz="1400" dirty="0"/>
              <a:t>12:30 PM - 12:50 PM</a:t>
            </a:r>
          </a:p>
          <a:p>
            <a:pPr marL="0" indent="0">
              <a:buNone/>
            </a:pPr>
            <a:r>
              <a:rPr lang="en-US" sz="1400" dirty="0"/>
              <a:t>Expo Theater #10</a:t>
            </a:r>
          </a:p>
        </p:txBody>
      </p:sp>
    </p:spTree>
    <p:extLst>
      <p:ext uri="{BB962C8B-B14F-4D97-AF65-F5344CB8AC3E}">
        <p14:creationId xmlns:p14="http://schemas.microsoft.com/office/powerpoint/2010/main" val="1022518792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675377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BFYOC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endParaRPr lang="en-US" sz="1000" dirty="0">
              <a:latin typeface="+mj-lt"/>
            </a:endParaRPr>
          </a:p>
          <a:p>
            <a:pPr algn="ctr"/>
            <a:r>
              <a:rPr lang="en-US" dirty="0">
                <a:latin typeface="+mj-lt"/>
                <a:hlinkClick r:id="rId2"/>
              </a:rPr>
              <a:t>http://aka.ms/serverless-workshop-preday18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</a:rPr>
              <a:t>http://aka.ms/serverless-workshop-preday18</a:t>
            </a: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Ops</a:t>
            </a:r>
          </a:p>
        </p:txBody>
      </p:sp>
    </p:spTree>
    <p:extLst>
      <p:ext uri="{BB962C8B-B14F-4D97-AF65-F5344CB8AC3E}">
        <p14:creationId xmlns:p14="http://schemas.microsoft.com/office/powerpoint/2010/main" val="86666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3634</Words>
  <Application>Microsoft Office PowerPoint</Application>
  <PresentationFormat>Widescreen</PresentationFormat>
  <Paragraphs>736</Paragraphs>
  <Slides>93</Slides>
  <Notes>65</Notes>
  <HiddenSlides>11</HiddenSlides>
  <MMClips>2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3</vt:i4>
      </vt:variant>
    </vt:vector>
  </HeadingPairs>
  <TitlesOfParts>
    <vt:vector size="114" baseType="lpstr">
      <vt:lpstr>맑은 고딕</vt:lpstr>
      <vt:lpstr>MS PGothic</vt:lpstr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Times New Roman</vt:lpstr>
      <vt:lpstr>Wingdings</vt:lpstr>
      <vt:lpstr>5-50203_Microsoft_Ignite_Template</vt:lpstr>
      <vt:lpstr>EBC_2017</vt:lpstr>
      <vt:lpstr>think-cell Slide</vt:lpstr>
      <vt:lpstr>Develop serverless applications using Azure Functions, CosmosDB and more</vt:lpstr>
      <vt:lpstr>Agenda</vt:lpstr>
      <vt:lpstr>Why serverless?</vt:lpstr>
      <vt:lpstr>History of cloud development</vt:lpstr>
      <vt:lpstr>What is serverless?</vt:lpstr>
      <vt:lpstr>What are the benefits?</vt:lpstr>
      <vt:lpstr>What are we building today?</vt:lpstr>
      <vt:lpstr>Best For You Organics Company (BFYOC)</vt:lpstr>
      <vt:lpstr>Pre-requisites</vt:lpstr>
      <vt:lpstr>Build apps faster with Azure Functions</vt:lpstr>
      <vt:lpstr>PowerPoint Presentation</vt:lpstr>
      <vt:lpstr>What is Azure Functions? An event-based, serverless compute experience that accelerates app develop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Cosmos DB</vt:lpstr>
      <vt:lpstr>Modern apps face new challenges</vt:lpstr>
      <vt:lpstr>Azure Cosmos db  </vt:lpstr>
      <vt:lpstr>PowerPoint Pre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Event based computing in Azure with Event Grid</vt:lpstr>
      <vt:lpstr>PowerPoint Presentation</vt:lpstr>
      <vt:lpstr>PowerPoint Presentation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 Presentation</vt:lpstr>
      <vt:lpstr>Module 3 – Making the solution event-driven</vt:lpstr>
      <vt:lpstr>Integration Made Easy with Logic Apps</vt:lpstr>
      <vt:lpstr>PowerPoint Presentation</vt:lpstr>
      <vt:lpstr>PowerPoint Presentation</vt:lpstr>
      <vt:lpstr>PowerPoint Presentation</vt:lpstr>
      <vt:lpstr>PowerPoint Presentation</vt:lpstr>
      <vt:lpstr>Connected</vt:lpstr>
      <vt:lpstr>PowerPoint Presentation</vt:lpstr>
      <vt:lpstr>Hello World to Integration Hero in 5 Minu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’s New</vt:lpstr>
      <vt:lpstr>Logic Apps Sessions at Ignite</vt:lpstr>
      <vt:lpstr>PowerPoint Presentation</vt:lpstr>
      <vt:lpstr>Customer Satisfaction Survey</vt:lpstr>
      <vt:lpstr>Module 4 – Orchestrating serverless workflows</vt:lpstr>
      <vt:lpstr>DevOp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8-09-21T04:41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